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0"/>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44E357AC-6578-4628-A181-C39778C850E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notesMaster" Target="notesMasters/notesMaster1.xml"/><Relationship Id="rId31" Type="http://schemas.openxmlformats.org/officeDocument/2006/relationships/presProps" Target="presProps.xml"/><Relationship Id="rId32" Type="http://schemas.openxmlformats.org/officeDocument/2006/relationships/viewProps" Target="viewProps.xml"/><Relationship Id="rId33" Type="http://schemas.openxmlformats.org/officeDocument/2006/relationships/theme" Target="theme/theme1.xml"/><Relationship Id="rId34" Type="http://schemas.openxmlformats.org/officeDocument/2006/relationships/tableStyles" Target="tableStyles.xml"/><Relationship Id="rId35" Type="http://schemas.microsoft.com/office/2015/10/relationships/revisionInfo" Target="revisionInfo.xml"/><Relationship Id="rId3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94847687755715</c:v>
                </c:pt>
                <c:pt idx="1">
                  <c:v>0.002255028483403057</c:v>
                </c:pt>
                <c:pt idx="2">
                  <c:v>0.003460401661324455</c:v>
                </c:pt>
                <c:pt idx="3">
                  <c:v>0.008154745536428228</c:v>
                </c:pt>
                <c:pt idx="4">
                  <c:v>0.01660420269013184</c:v>
                </c:pt>
                <c:pt idx="5">
                  <c:v>0.012212953095945937</c:v>
                </c:pt>
                <c:pt idx="6">
                  <c:v>0.006900514686939858</c:v>
                </c:pt>
                <c:pt idx="7">
                  <c:v>0.027956871870939873</c:v>
                </c:pt>
                <c:pt idx="8">
                  <c:v>0.01668129465014956</c:v>
                </c:pt>
                <c:pt idx="9">
                  <c:v>0.004308488999503852</c:v>
                </c:pt>
                <c:pt idx="10">
                  <c:v>0.000391239526749595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45544047456652</c:v>
                </c:pt>
                <c:pt idx="7">
                  <c:v>0.0026853604363414013</c:v>
                </c:pt>
                <c:pt idx="8">
                  <c:v>0.00310633033399305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14083598542271125</c:v>
                </c:pt>
                <c:pt idx="4">
                  <c:v>0.028380127651671066</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26853604363414013</c:v>
                </c:pt>
                <c:pt idx="3">
                  <c:v>0.003106330333993053</c:v>
                </c:pt>
                <c:pt idx="4">
                  <c:v>0.0045544047456652</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2111782342933432</c:v>
                </c:pt>
                <c:pt idx="4">
                  <c:v>0.001158301071095546</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0.08809876440111869</c:v>
                </c:pt>
                <c:pt idx="6">
                  <c:v>0.0001389019956293585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38510096173754497</c:v>
                </c:pt>
                <c:pt idx="4">
                  <c:v>0.0007760242824367225</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0.11240208748273982</c:v>
                </c:pt>
                <c:pt idx="6">
                  <c:v>0.005192753562862204</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5192753562862204</c:v>
                </c:pt>
                <c:pt idx="5">
                  <c:v>0.11240208748273982</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0.08809876440111869</c:v>
                </c:pt>
                <c:pt idx="6">
                  <c:v>0.0001389019956293585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19428990141866858</c:v>
                </c:pt>
                <c:pt idx="5">
                  <c:v>0.07689897051294806</c:v>
                </c:pt>
                <c:pt idx="6">
                  <c:v>0.02118923587943137</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2118923587943137</c:v>
                </c:pt>
                <c:pt idx="5">
                  <c:v>0.07689897051294806</c:v>
                </c:pt>
                <c:pt idx="6">
                  <c:v>0.0019428990141866858</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94847687755715</c:v>
                </c:pt>
                <c:pt idx="1">
                  <c:v>0.002255028483403057</c:v>
                </c:pt>
                <c:pt idx="2">
                  <c:v>0.003460401661324455</c:v>
                </c:pt>
                <c:pt idx="3">
                  <c:v>0.008154745536428228</c:v>
                </c:pt>
                <c:pt idx="4">
                  <c:v>0.01660420269013184</c:v>
                </c:pt>
                <c:pt idx="5">
                  <c:v>0.012212953095945937</c:v>
                </c:pt>
                <c:pt idx="6">
                  <c:v>0.006900514686939858</c:v>
                </c:pt>
                <c:pt idx="7">
                  <c:v>0.027956871870939873</c:v>
                </c:pt>
                <c:pt idx="8">
                  <c:v>0.01668129465014956</c:v>
                </c:pt>
                <c:pt idx="9">
                  <c:v>0.004308488999503852</c:v>
                </c:pt>
                <c:pt idx="10">
                  <c:v>0.000391239526749595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2111782342933432</c:v>
                </c:pt>
                <c:pt idx="4">
                  <c:v>0.001158301071095546</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12295290510459986</c:v>
                </c:pt>
                <c:pt idx="8">
                  <c:v>0.0092465227018631</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38510096173754497</c:v>
                </c:pt>
                <c:pt idx="4">
                  <c:v>0.0007760242824367225</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036410196472055873</c:v>
                </c:pt>
                <c:pt idx="7">
                  <c:v>0.0018740610394460178</c:v>
                </c:pt>
                <c:pt idx="8">
                  <c:v>0.01151269219913366</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18740610394460178</c:v>
                </c:pt>
                <c:pt idx="3">
                  <c:v>0.01151269219913366</c:v>
                </c:pt>
                <c:pt idx="4">
                  <c:v>0.00036410196472055873</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4267255754208456</c:v>
                </c:pt>
                <c:pt idx="3">
                  <c:v>0.006827337072079137</c:v>
                </c:pt>
                <c:pt idx="4">
                  <c:v>0.009911853027981745</c:v>
                </c:pt>
                <c:pt idx="5">
                  <c:v>0.026441787850900917</c:v>
                </c:pt>
                <c:pt idx="6">
                  <c:v>1.4726532412161027e-06</c:v>
                </c:pt>
                <c:pt idx="7">
                  <c:v>0.0641718200234897</c:v>
                </c:pt>
                <c:pt idx="8">
                  <c:v>0.0627645686249812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10638859695420368</c:v>
                </c:pt>
                <c:pt idx="6">
                  <c:v>0.00646942697598207</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12295290510459986</c:v>
                </c:pt>
                <c:pt idx="8">
                  <c:v>0.0092465227018631</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6026673404257793</c:v>
                </c:pt>
                <c:pt idx="6">
                  <c:v>0.007687804340394887</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008646551758464e-07</c:v>
                </c:pt>
                <c:pt idx="5">
                  <c:v/>
                </c:pt>
                <c:pt idx="6">
                  <c:v/>
                </c:pt>
                <c:pt idx="7">
                  <c:v>0.00415582430339055</c:v>
                </c:pt>
                <c:pt idx="8">
                  <c:v>0.01198829569456491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2040258842250043</c:v>
                </c:pt>
                <c:pt idx="6">
                  <c:v>0.2811521153131808</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0.00415582430339055</c:v>
                </c:pt>
                <c:pt idx="3">
                  <c:v>0.011988295694564919</c:v>
                </c:pt>
                <c:pt idx="4">
                  <c:v/>
                </c:pt>
                <c:pt idx="5">
                  <c:v/>
                </c:pt>
                <c:pt idx="6">
                  <c:v>5.008646551758464e-07</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6.707823043742093e-05</c:v>
                </c:pt>
                <c:pt idx="5">
                  <c:v>0.005893115539872279</c:v>
                </c:pt>
                <c:pt idx="6">
                  <c:v>5.5899138455006776e-06</c:v>
                </c:pt>
                <c:pt idx="7">
                  <c:v>0.0042781196847330675</c:v>
                </c:pt>
                <c:pt idx="8">
                  <c:v>0.007974154092364044</c:v>
                </c:pt>
                <c:pt idx="9">
                  <c:v>0.000783055113322963</c:v>
                </c:pt>
                <c:pt idx="10">
                  <c:v>4.838461094540636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6886924350949647e-05</c:v>
                </c:pt>
                <c:pt idx="1">
                  <c:v>0.03889779998381663</c:v>
                </c:pt>
                <c:pt idx="2">
                  <c:v>0.008003546001222972</c:v>
                </c:pt>
                <c:pt idx="3">
                  <c:v/>
                </c:pt>
                <c:pt idx="4">
                  <c:v>0.000746483446360842</c:v>
                </c:pt>
                <c:pt idx="5">
                  <c:v>0.052241447653462884</c:v>
                </c:pt>
                <c:pt idx="6">
                  <c:v>0.007650994406495471</c:v>
                </c:pt>
                <c:pt idx="7">
                  <c:v>0.06491184673736135</c:v>
                </c:pt>
                <c:pt idx="8">
                  <c:v>0.061714556119924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3055994905060984e-05</c:v>
                </c:pt>
                <c:pt idx="5">
                  <c:v>0.010253020798688324</c:v>
                </c:pt>
                <c:pt idx="6">
                  <c:v>0.000962380264894093</c:v>
                </c:pt>
                <c:pt idx="7">
                  <c:v>0.003551266347196433</c:v>
                </c:pt>
                <c:pt idx="8">
                  <c:v>0.013280811825233933</c:v>
                </c:pt>
                <c:pt idx="9">
                  <c:v>0.0013178603167086221</c:v>
                </c:pt>
                <c:pt idx="10">
                  <c:v>5.645987383737176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645987383737176e-07</c:v>
                </c:pt>
                <c:pt idx="1">
                  <c:v>0.0013178603167086221</c:v>
                </c:pt>
                <c:pt idx="2">
                  <c:v>0.003551266347196433</c:v>
                </c:pt>
                <c:pt idx="3">
                  <c:v>0.013280811825233933</c:v>
                </c:pt>
                <c:pt idx="4">
                  <c:v>0.000962380264894093</c:v>
                </c:pt>
                <c:pt idx="5">
                  <c:v>0.010253020798688324</c:v>
                </c:pt>
                <c:pt idx="6">
                  <c:v>5.3055994905060984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128423267046278e-08</c:v>
                </c:pt>
                <c:pt idx="1">
                  <c:v/>
                </c:pt>
                <c:pt idx="2">
                  <c:v>2.5749800551793064e-08</c:v>
                </c:pt>
                <c:pt idx="3">
                  <c:v>0.007080153388383626</c:v>
                </c:pt>
                <c:pt idx="4">
                  <c:v>0.003943904194868299</c:v>
                </c:pt>
                <c:pt idx="5">
                  <c:v>0.004162520737261609</c:v>
                </c:pt>
                <c:pt idx="6">
                  <c:v>0.002265301182406048</c:v>
                </c:pt>
                <c:pt idx="7">
                  <c:v>0.007071420527453632</c:v>
                </c:pt>
                <c:pt idx="8">
                  <c:v>0.0017916093228724371</c:v>
                </c:pt>
                <c:pt idx="9">
                  <c:v>1.32147976431802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10202896374155589</c:v>
                </c:pt>
                <c:pt idx="3">
                  <c:v>0.008315817381319824</c:v>
                </c:pt>
                <c:pt idx="4">
                  <c:v>0.009528814340043575</c:v>
                </c:pt>
                <c:pt idx="5">
                  <c:v>0.0001256503634582663</c:v>
                </c:pt>
                <c:pt idx="6">
                  <c:v>0.0010506368196031462</c:v>
                </c:pt>
                <c:pt idx="7">
                  <c:v>0.010285284359285968</c:v>
                </c:pt>
                <c:pt idx="8">
                  <c:v>0.0003930964427586781</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10285284359285968</c:v>
                </c:pt>
                <c:pt idx="3">
                  <c:v>0.0003930964427586781</c:v>
                </c:pt>
                <c:pt idx="4">
                  <c:v>0.0010506368196031462</c:v>
                </c:pt>
                <c:pt idx="5">
                  <c:v>0.0001256503634582663</c:v>
                </c:pt>
                <c:pt idx="6">
                  <c:v>0.009528814340043575</c:v>
                </c:pt>
                <c:pt idx="7">
                  <c:v>0.008315817381319824</c:v>
                </c:pt>
                <c:pt idx="8">
                  <c:v/>
                </c:pt>
                <c:pt idx="9">
                  <c:v>0.0010202896374155589</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6491184673736135</c:v>
                </c:pt>
                <c:pt idx="3">
                  <c:v>0.0617145561199249</c:v>
                </c:pt>
                <c:pt idx="4">
                  <c:v>0.007650994406495471</c:v>
                </c:pt>
                <c:pt idx="5">
                  <c:v>0.052241447653462884</c:v>
                </c:pt>
                <c:pt idx="6">
                  <c:v>0.000746483446360842</c:v>
                </c:pt>
                <c:pt idx="7">
                  <c:v/>
                </c:pt>
                <c:pt idx="8">
                  <c:v>0.03889779998381663</c:v>
                </c:pt>
                <c:pt idx="9">
                  <c:v>0.008003546001222972</c:v>
                </c:pt>
                <c:pt idx="10">
                  <c:v>2.6886924350949647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4580878578177295</c:v>
                </c:pt>
                <c:pt idx="3">
                  <c:v>0.0006889822634042167</c:v>
                </c:pt>
                <c:pt idx="4">
                  <c:v>0.0010002568881030992</c:v>
                </c:pt>
                <c:pt idx="5">
                  <c:v>0.0026683789960321833</c:v>
                </c:pt>
                <c:pt idx="6">
                  <c:v>0.00029672230884418343</c:v>
                </c:pt>
                <c:pt idx="7">
                  <c:v>0.006489805368138759</c:v>
                </c:pt>
                <c:pt idx="8">
                  <c:v>0.006949271566430385</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850137861982709e-06</c:v>
                </c:pt>
                <c:pt idx="1">
                  <c:v>0.004123346018853603</c:v>
                </c:pt>
                <c:pt idx="2">
                  <c:v>0.0008484127522529444</c:v>
                </c:pt>
                <c:pt idx="3">
                  <c:v/>
                </c:pt>
                <c:pt idx="4">
                  <c:v>7.913068471668565e-05</c:v>
                </c:pt>
                <c:pt idx="5">
                  <c:v>0.0055378341523344725</c:v>
                </c:pt>
                <c:pt idx="6">
                  <c:v>0.0008144173936020193</c:v>
                </c:pt>
                <c:pt idx="7">
                  <c:v>0.006970389445443302</c:v>
                </c:pt>
                <c:pt idx="8">
                  <c:v>0.007394408526795986</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6970389445443302</c:v>
                </c:pt>
                <c:pt idx="3">
                  <c:v>0.007394408526795986</c:v>
                </c:pt>
                <c:pt idx="4">
                  <c:v>0.0008144173936020193</c:v>
                </c:pt>
                <c:pt idx="5">
                  <c:v>0.0055378341523344725</c:v>
                </c:pt>
                <c:pt idx="6">
                  <c:v>7.913068471668565e-05</c:v>
                </c:pt>
                <c:pt idx="7">
                  <c:v/>
                </c:pt>
                <c:pt idx="8">
                  <c:v>0.004123346018853603</c:v>
                </c:pt>
                <c:pt idx="9">
                  <c:v>0.0008484127522529444</c:v>
                </c:pt>
                <c:pt idx="10">
                  <c:v>2.850137861982709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6.707823043742093e-05</c:v>
                </c:pt>
                <c:pt idx="5">
                  <c:v>0.005893115539872279</c:v>
                </c:pt>
                <c:pt idx="6">
                  <c:v>5.5899138455006776e-06</c:v>
                </c:pt>
                <c:pt idx="7">
                  <c:v>0.0042781196847330675</c:v>
                </c:pt>
                <c:pt idx="8">
                  <c:v>0.007974154092364044</c:v>
                </c:pt>
                <c:pt idx="9">
                  <c:v>0.000783055113322963</c:v>
                </c:pt>
                <c:pt idx="10">
                  <c:v>4.838461094540636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8.623302236972275e-05</c:v>
                </c:pt>
                <c:pt idx="5">
                  <c:v>0.003664298652854376</c:v>
                </c:pt>
                <c:pt idx="6">
                  <c:v>0.003089423275313602</c:v>
                </c:pt>
                <c:pt idx="7">
                  <c:v>0.006460184788650986</c:v>
                </c:pt>
                <c:pt idx="8">
                  <c:v>0.008665698137942348</c:v>
                </c:pt>
                <c:pt idx="9">
                  <c:v>0.001088078530865876</c:v>
                </c:pt>
                <c:pt idx="10">
                  <c:v>9.276569711450426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276569711450426e-05</c:v>
                </c:pt>
                <c:pt idx="1">
                  <c:v>0.001088078530865876</c:v>
                </c:pt>
                <c:pt idx="2">
                  <c:v>0.006460184788650986</c:v>
                </c:pt>
                <c:pt idx="3">
                  <c:v>0.008665698137942348</c:v>
                </c:pt>
                <c:pt idx="4">
                  <c:v>0.003089423275313602</c:v>
                </c:pt>
                <c:pt idx="5">
                  <c:v>0.003664298652854376</c:v>
                </c:pt>
                <c:pt idx="6">
                  <c:v>8.623302236972275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2.5516269030972075e-07</c:v>
                </c:pt>
                <c:pt idx="3">
                  <c:v>0.07015941668175954</c:v>
                </c:pt>
                <c:pt idx="4">
                  <c:v>0.0390813591997439</c:v>
                </c:pt>
                <c:pt idx="5">
                  <c:v>0.04124769773083601</c:v>
                </c:pt>
                <c:pt idx="6">
                  <c:v>0.022447565871506092</c:v>
                </c:pt>
                <c:pt idx="7">
                  <c:v>0.07007288007793164</c:v>
                </c:pt>
                <c:pt idx="8">
                  <c:v>0.017753607601293627</c:v>
                </c:pt>
                <c:pt idx="9">
                  <c:v>0.0001309494926669487</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128423267046278e-08</c:v>
                </c:pt>
                <c:pt idx="1">
                  <c:v/>
                </c:pt>
                <c:pt idx="2">
                  <c:v>2.5749800551793064e-08</c:v>
                </c:pt>
                <c:pt idx="3">
                  <c:v>0.007080153388383626</c:v>
                </c:pt>
                <c:pt idx="4">
                  <c:v>0.003943904194868299</c:v>
                </c:pt>
                <c:pt idx="5">
                  <c:v>0.004162520737261609</c:v>
                </c:pt>
                <c:pt idx="6">
                  <c:v>0.002265301182406048</c:v>
                </c:pt>
                <c:pt idx="7">
                  <c:v>0.007071420527453632</c:v>
                </c:pt>
                <c:pt idx="8">
                  <c:v>0.0017916093228724371</c:v>
                </c:pt>
                <c:pt idx="9">
                  <c:v>1.32147976431802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248995613053693e-07</c:v>
                </c:pt>
                <c:pt idx="1">
                  <c:v>2.080333060550912e-06</c:v>
                </c:pt>
                <c:pt idx="2">
                  <c:v>3.229877926999663e-06</c:v>
                </c:pt>
                <c:pt idx="3">
                  <c:v>0.006981271760873598</c:v>
                </c:pt>
                <c:pt idx="4">
                  <c:v>0.007599096365085087</c:v>
                </c:pt>
                <c:pt idx="5">
                  <c:v>0.003592422073275713</c:v>
                </c:pt>
                <c:pt idx="6">
                  <c:v>0.0032777212980458176</c:v>
                </c:pt>
                <c:pt idx="7">
                  <c:v>0.004155694768489085</c:v>
                </c:pt>
                <c:pt idx="8">
                  <c:v>0.0018617436727184685</c:v>
                </c:pt>
                <c:pt idx="9">
                  <c:v>0.0014410703024494579</c:v>
                </c:pt>
                <c:pt idx="10">
                  <c:v>1.2868039549799455e-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2868039549799455e-08</c:v>
                </c:pt>
                <c:pt idx="1">
                  <c:v>0.0014410703024494579</c:v>
                </c:pt>
                <c:pt idx="2">
                  <c:v>0.004155694768489085</c:v>
                </c:pt>
                <c:pt idx="3">
                  <c:v>0.0018617436727184685</c:v>
                </c:pt>
                <c:pt idx="4">
                  <c:v>0.0032777212980458176</c:v>
                </c:pt>
                <c:pt idx="5">
                  <c:v>0.003592422073275713</c:v>
                </c:pt>
                <c:pt idx="6">
                  <c:v>0.007599096365085087</c:v>
                </c:pt>
                <c:pt idx="7">
                  <c:v>0.006981271760873598</c:v>
                </c:pt>
                <c:pt idx="8">
                  <c:v>2.080333060550912e-06</c:v>
                </c:pt>
                <c:pt idx="9">
                  <c:v>3.229877926999663e-06</c:v>
                </c:pt>
                <c:pt idx="10">
                  <c:v>7.248995613053693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4580878578177295</c:v>
                </c:pt>
                <c:pt idx="3">
                  <c:v>0.0006889822634042167</c:v>
                </c:pt>
                <c:pt idx="4">
                  <c:v>0.0010002568881030992</c:v>
                </c:pt>
                <c:pt idx="5">
                  <c:v>0.0026683789960321833</c:v>
                </c:pt>
                <c:pt idx="6">
                  <c:v>0.00029672230884418343</c:v>
                </c:pt>
                <c:pt idx="7">
                  <c:v>0.006489805368138759</c:v>
                </c:pt>
                <c:pt idx="8">
                  <c:v>0.006949271566430385</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159928628019147e-07</c:v>
                </c:pt>
                <c:pt idx="1">
                  <c:v>2.316247118963902e-07</c:v>
                </c:pt>
                <c:pt idx="2">
                  <c:v>0.0028805964401529397</c:v>
                </c:pt>
                <c:pt idx="3">
                  <c:v>0.003305048724703075</c:v>
                </c:pt>
                <c:pt idx="4">
                  <c:v>0.0017550118633459153</c:v>
                </c:pt>
                <c:pt idx="5">
                  <c:v>0.0021578329734128375</c:v>
                </c:pt>
                <c:pt idx="6">
                  <c:v>0.0023843362055684073</c:v>
                </c:pt>
                <c:pt idx="7">
                  <c:v>0.0057335995141645935</c:v>
                </c:pt>
                <c:pt idx="8">
                  <c:v>0.00679725021661843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57335995141645935</c:v>
                </c:pt>
                <c:pt idx="3">
                  <c:v>0.006797250216618433</c:v>
                </c:pt>
                <c:pt idx="4">
                  <c:v>0.0023843362055684073</c:v>
                </c:pt>
                <c:pt idx="5">
                  <c:v>0.0021578329734128375</c:v>
                </c:pt>
                <c:pt idx="6">
                  <c:v>0.0017550118633459153</c:v>
                </c:pt>
                <c:pt idx="7">
                  <c:v>0.003305048724703075</c:v>
                </c:pt>
                <c:pt idx="8">
                  <c:v>2.316247118963902e-07</c:v>
                </c:pt>
                <c:pt idx="9">
                  <c:v>0.0028805964401529397</c:v>
                </c:pt>
                <c:pt idx="10">
                  <c:v>2.0159928628019147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7.007539790009915e-05</c:v>
                </c:pt>
                <c:pt idx="5">
                  <c:v>0.002452605108927297</c:v>
                </c:pt>
                <c:pt idx="6">
                  <c:v/>
                </c:pt>
                <c:pt idx="7">
                  <c:v>0.004469273223472992</c:v>
                </c:pt>
                <c:pt idx="8">
                  <c:v>0.008292187270638534</c:v>
                </c:pt>
                <c:pt idx="9">
                  <c:v>0.0008180433247267346</c:v>
                </c:pt>
                <c:pt idx="10">
                  <c:v>5.0546516241271404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5.625350202944884e-05</c:v>
                </c:pt>
                <c:pt idx="5">
                  <c:v>0.0043894136216223335</c:v>
                </c:pt>
                <c:pt idx="6">
                  <c:v>0.0007209462174041232</c:v>
                </c:pt>
                <c:pt idx="7">
                  <c:v>0.003765289276482342</c:v>
                </c:pt>
                <c:pt idx="8">
                  <c:v>0.014081201875497398</c:v>
                </c:pt>
                <c:pt idx="9">
                  <c:v>0.0013972833443827652</c:v>
                </c:pt>
                <c:pt idx="10">
                  <c:v>5.986252134516197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986252134516197e-07</c:v>
                </c:pt>
                <c:pt idx="1">
                  <c:v>0.0013972833443827652</c:v>
                </c:pt>
                <c:pt idx="2">
                  <c:v>0.003765289276482342</c:v>
                </c:pt>
                <c:pt idx="3">
                  <c:v>0.014081201875497398</c:v>
                </c:pt>
                <c:pt idx="4">
                  <c:v>0.0007209462174041232</c:v>
                </c:pt>
                <c:pt idx="5">
                  <c:v>0.0043894136216223335</c:v>
                </c:pt>
                <c:pt idx="6">
                  <c:v>5.625350202944884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983113193337842e-08</c:v>
                </c:pt>
                <c:pt idx="1">
                  <c:v/>
                </c:pt>
                <c:pt idx="2">
                  <c:v>2.6900344683339403e-08</c:v>
                </c:pt>
                <c:pt idx="3">
                  <c:v>0.007396506476830576</c:v>
                </c:pt>
                <c:pt idx="4">
                  <c:v>0.00412012442685261</c:v>
                </c:pt>
                <c:pt idx="5">
                  <c:v>0.004348509121795438</c:v>
                </c:pt>
                <c:pt idx="6">
                  <c:v>0.002366518625871674</c:v>
                </c:pt>
                <c:pt idx="7">
                  <c:v>0.00738738341707654</c:v>
                </c:pt>
                <c:pt idx="8">
                  <c:v>0.0018716614222395156</c:v>
                </c:pt>
                <c:pt idx="9">
                  <c:v>1.3805256891489781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10817790768354225</c:v>
                </c:pt>
                <c:pt idx="3">
                  <c:v>0.00881698384459054</c:v>
                </c:pt>
                <c:pt idx="4">
                  <c:v>0.010103084067598002</c:v>
                </c:pt>
                <c:pt idx="5">
                  <c:v>0.0001332228900513244</c:v>
                </c:pt>
                <c:pt idx="6">
                  <c:v>0.0011139551820584471</c:v>
                </c:pt>
                <c:pt idx="7">
                  <c:v>0.01090514400142482</c:v>
                </c:pt>
                <c:pt idx="8">
                  <c:v>0.0004167870488540224</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1090514400142482</c:v>
                </c:pt>
                <c:pt idx="3">
                  <c:v>0.0004167870488540224</c:v>
                </c:pt>
                <c:pt idx="4">
                  <c:v>0.0011139551820584471</c:v>
                </c:pt>
                <c:pt idx="5">
                  <c:v>0.0001332228900513244</c:v>
                </c:pt>
                <c:pt idx="6">
                  <c:v>0.010103084067598002</c:v>
                </c:pt>
                <c:pt idx="7">
                  <c:v>0.00881698384459054</c:v>
                </c:pt>
                <c:pt idx="8">
                  <c:v/>
                </c:pt>
                <c:pt idx="9">
                  <c:v>0.0010817790768354225</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94847687755715</c:v>
                </c:pt>
                <c:pt idx="1">
                  <c:v>0.002255028483403057</c:v>
                </c:pt>
                <c:pt idx="2">
                  <c:v>0.003460401661324455</c:v>
                </c:pt>
                <c:pt idx="3">
                  <c:v>0.008154745536428228</c:v>
                </c:pt>
                <c:pt idx="4">
                  <c:v>0.01660420269013184</c:v>
                </c:pt>
                <c:pt idx="5">
                  <c:v>0.012212953095945937</c:v>
                </c:pt>
                <c:pt idx="6">
                  <c:v>0.006900514686939858</c:v>
                </c:pt>
                <c:pt idx="7">
                  <c:v>0.027956871870939873</c:v>
                </c:pt>
                <c:pt idx="8">
                  <c:v>0.01668129465014956</c:v>
                </c:pt>
                <c:pt idx="9">
                  <c:v>0.004308488999503852</c:v>
                </c:pt>
                <c:pt idx="10">
                  <c:v>0.000391239526749595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6126010037809816</c:v>
                </c:pt>
                <c:pt idx="3">
                  <c:v>0.0007197671426231757</c:v>
                </c:pt>
                <c:pt idx="4">
                  <c:v>0.0010449500378745325</c:v>
                </c:pt>
                <c:pt idx="5">
                  <c:v>0.0027876066299880723</c:v>
                </c:pt>
                <c:pt idx="6">
                  <c:v>0.0003099803575988866</c:v>
                </c:pt>
                <c:pt idx="7">
                  <c:v>0.006779780720226293</c:v>
                </c:pt>
                <c:pt idx="8">
                  <c:v>0.007259776636292821</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3.0219061255971187e-06</c:v>
                </c:pt>
                <c:pt idx="1">
                  <c:v>0.004371846274012195</c:v>
                </c:pt>
                <c:pt idx="2">
                  <c:v>0.0008995437474327468</c:v>
                </c:pt>
                <c:pt idx="3">
                  <c:v/>
                </c:pt>
                <c:pt idx="4">
                  <c:v>8.389962606991162e-05</c:v>
                </c:pt>
                <c:pt idx="5">
                  <c:v>0.005871580870070205</c:v>
                </c:pt>
                <c:pt idx="6">
                  <c:v>0.000863499602368958</c:v>
                </c:pt>
                <c:pt idx="7">
                  <c:v>0.007390471472958666</c:v>
                </c:pt>
                <c:pt idx="8">
                  <c:v>0.0078400447642725</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7390471472958666</c:v>
                </c:pt>
                <c:pt idx="3">
                  <c:v>0.0078400447642725</c:v>
                </c:pt>
                <c:pt idx="4">
                  <c:v>0.000863499602368958</c:v>
                </c:pt>
                <c:pt idx="5">
                  <c:v>0.005871580870070205</c:v>
                </c:pt>
                <c:pt idx="6">
                  <c:v>8.389962606991162e-05</c:v>
                </c:pt>
                <c:pt idx="7">
                  <c:v/>
                </c:pt>
                <c:pt idx="8">
                  <c:v>0.004371846274012195</c:v>
                </c:pt>
                <c:pt idx="9">
                  <c:v>0.0008995437474327468</c:v>
                </c:pt>
                <c:pt idx="10">
                  <c:v>3.0219061255971187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2.5516269030972075e-07</c:v>
                </c:pt>
                <c:pt idx="3">
                  <c:v>0.07015941668175954</c:v>
                </c:pt>
                <c:pt idx="4">
                  <c:v>0.0390813591997439</c:v>
                </c:pt>
                <c:pt idx="5">
                  <c:v>0.04124769773083601</c:v>
                </c:pt>
                <c:pt idx="6">
                  <c:v>0.022447565871506092</c:v>
                </c:pt>
                <c:pt idx="7">
                  <c:v>0.07007288007793164</c:v>
                </c:pt>
                <c:pt idx="8">
                  <c:v>0.017753607601293627</c:v>
                </c:pt>
                <c:pt idx="9">
                  <c:v>0.0001309494926669487</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7.007539790009915e-05</c:v>
                </c:pt>
                <c:pt idx="5">
                  <c:v>0.002452605108927297</c:v>
                </c:pt>
                <c:pt idx="6">
                  <c:v/>
                </c:pt>
                <c:pt idx="7">
                  <c:v>0.004469273223472992</c:v>
                </c:pt>
                <c:pt idx="8">
                  <c:v>0.008292187270638534</c:v>
                </c:pt>
                <c:pt idx="9">
                  <c:v>0.0008180433247267346</c:v>
                </c:pt>
                <c:pt idx="10">
                  <c:v>5.0546516241271404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830707670152959e-07</c:v>
                </c:pt>
                <c:pt idx="5">
                  <c:v>0.000279132401136781</c:v>
                </c:pt>
                <c:pt idx="6">
                  <c:v>0.0022620463993700407</c:v>
                </c:pt>
                <c:pt idx="7">
                  <c:v>0.006787563320020437</c:v>
                </c:pt>
                <c:pt idx="8">
                  <c:v>0.008922813295508415</c:v>
                </c:pt>
                <c:pt idx="9">
                  <c:v>0.0011432183702208248</c:v>
                </c:pt>
                <c:pt idx="10">
                  <c:v>9.746672327340947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746672327340947e-05</c:v>
                </c:pt>
                <c:pt idx="1">
                  <c:v>0.0011432183702208248</c:v>
                </c:pt>
                <c:pt idx="2">
                  <c:v>0.006787563320020437</c:v>
                </c:pt>
                <c:pt idx="3">
                  <c:v>0.008922813295508415</c:v>
                </c:pt>
                <c:pt idx="4">
                  <c:v>0.0022620463993700407</c:v>
                </c:pt>
                <c:pt idx="5">
                  <c:v>0.000279132401136781</c:v>
                </c:pt>
                <c:pt idx="6">
                  <c:v>3.830707670152959e-07</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983113193337842e-08</c:v>
                </c:pt>
                <c:pt idx="1">
                  <c:v/>
                </c:pt>
                <c:pt idx="2">
                  <c:v>2.6900344683339403e-08</c:v>
                </c:pt>
                <c:pt idx="3">
                  <c:v>0.007396506476830576</c:v>
                </c:pt>
                <c:pt idx="4">
                  <c:v>0.00412012442685261</c:v>
                </c:pt>
                <c:pt idx="5">
                  <c:v>0.004348509121795438</c:v>
                </c:pt>
                <c:pt idx="6">
                  <c:v>0.002366518625871674</c:v>
                </c:pt>
                <c:pt idx="7">
                  <c:v>0.00738738341707654</c:v>
                </c:pt>
                <c:pt idx="8">
                  <c:v>0.0018716614222395156</c:v>
                </c:pt>
                <c:pt idx="9">
                  <c:v>1.3805256891489781e-05</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9131908028297804e-06</c:v>
                </c:pt>
                <c:pt idx="1">
                  <c:v>2.0055227548059046e-05</c:v>
                </c:pt>
                <c:pt idx="2">
                  <c:v>3.1137291430285486e-05</c:v>
                </c:pt>
                <c:pt idx="3">
                  <c:v>0.06730220097645388</c:v>
                </c:pt>
                <c:pt idx="4">
                  <c:v>0.07325827275035034</c:v>
                </c:pt>
                <c:pt idx="5">
                  <c:v>0.0346323593536196</c:v>
                </c:pt>
                <c:pt idx="6">
                  <c:v>0.031598520312906206</c:v>
                </c:pt>
                <c:pt idx="7">
                  <c:v>0.040062529304925924</c:v>
                </c:pt>
                <c:pt idx="8">
                  <c:v>0.01794794002006598</c:v>
                </c:pt>
                <c:pt idx="9">
                  <c:v>0.013892483552955994</c:v>
                </c:pt>
                <c:pt idx="10">
                  <c:v>1.2405295390551985e-0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7.616348191245295e-07</c:v>
                </c:pt>
                <c:pt idx="1">
                  <c:v>2.185756729440218e-06</c:v>
                </c:pt>
                <c:pt idx="2">
                  <c:v>3.3935563242649154e-06</c:v>
                </c:pt>
                <c:pt idx="3">
                  <c:v>0.00733505707366851</c:v>
                </c:pt>
                <c:pt idx="4">
                  <c:v>0.007984190768593007</c:v>
                </c:pt>
                <c:pt idx="5">
                  <c:v>0.0037744728815551137</c:v>
                </c:pt>
                <c:pt idx="6">
                  <c:v>0.0034438242223271344</c:v>
                </c:pt>
                <c:pt idx="7">
                  <c:v>0.00436629017630431</c:v>
                </c:pt>
                <c:pt idx="8">
                  <c:v>0.0019560900311123767</c:v>
                </c:pt>
                <c:pt idx="9">
                  <c:v>0.0015140984734152224</c:v>
                </c:pt>
                <c:pt idx="10">
                  <c:v>1.3520144718186915e-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3520144718186915e-08</c:v>
                </c:pt>
                <c:pt idx="1">
                  <c:v>0.0015140984734152224</c:v>
                </c:pt>
                <c:pt idx="2">
                  <c:v>0.00436629017630431</c:v>
                </c:pt>
                <c:pt idx="3">
                  <c:v>0.0019560900311123767</c:v>
                </c:pt>
                <c:pt idx="4">
                  <c:v>0.0034438242223271344</c:v>
                </c:pt>
                <c:pt idx="5">
                  <c:v>0.0037744728815551137</c:v>
                </c:pt>
                <c:pt idx="6">
                  <c:v>0.007984190768593007</c:v>
                </c:pt>
                <c:pt idx="7">
                  <c:v>0.00733505707366851</c:v>
                </c:pt>
                <c:pt idx="8">
                  <c:v>2.185756729440218e-06</c:v>
                </c:pt>
                <c:pt idx="9">
                  <c:v>3.3935563242649154e-06</c:v>
                </c:pt>
                <c:pt idx="10">
                  <c:v>7.61634819124529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pt idx="10">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6126010037809816</c:v>
                </c:pt>
                <c:pt idx="3">
                  <c:v>0.0007197671426231757</c:v>
                </c:pt>
                <c:pt idx="4">
                  <c:v>0.0010449500378745325</c:v>
                </c:pt>
                <c:pt idx="5">
                  <c:v>0.0027876066299880723</c:v>
                </c:pt>
                <c:pt idx="6">
                  <c:v>0.0003099803575988866</c:v>
                </c:pt>
                <c:pt idx="7">
                  <c:v>0.006779780720226293</c:v>
                </c:pt>
                <c:pt idx="8">
                  <c:v>0.007259776636292821</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181560058492834e-07</c:v>
                </c:pt>
                <c:pt idx="1">
                  <c:v>2.4336260492736444e-07</c:v>
                </c:pt>
                <c:pt idx="2">
                  <c:v>0.003026574529464262</c:v>
                </c:pt>
                <c:pt idx="3">
                  <c:v>0.0034725365029936576</c:v>
                </c:pt>
                <c:pt idx="4">
                  <c:v>0.0018439494441048283</c:v>
                </c:pt>
                <c:pt idx="5">
                  <c:v>0.0022671840543629514</c:v>
                </c:pt>
                <c:pt idx="6">
                  <c:v>0.0025051656416924775</c:v>
                </c:pt>
                <c:pt idx="7">
                  <c:v>0.006024157361937826</c:v>
                </c:pt>
                <c:pt idx="8">
                  <c:v>0.0071417099907686256</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6024157361937826</c:v>
                </c:pt>
                <c:pt idx="3">
                  <c:v>0.0071417099907686256</c:v>
                </c:pt>
                <c:pt idx="4">
                  <c:v>0.0025051656416924775</c:v>
                </c:pt>
                <c:pt idx="5">
                  <c:v>0.0022671840543629514</c:v>
                </c:pt>
                <c:pt idx="6">
                  <c:v>0.0018439494441048283</c:v>
                </c:pt>
                <c:pt idx="7">
                  <c:v>0.0034725365029936576</c:v>
                </c:pt>
                <c:pt idx="8">
                  <c:v>2.4336260492736444e-07</c:v>
                </c:pt>
                <c:pt idx="9">
                  <c:v>0.003026574529464262</c:v>
                </c:pt>
                <c:pt idx="10">
                  <c:v>2.1181560058492834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2405295390551985e-07</c:v>
                </c:pt>
                <c:pt idx="1">
                  <c:v>0.013892483552955994</c:v>
                </c:pt>
                <c:pt idx="2">
                  <c:v>0.040062529304925924</c:v>
                </c:pt>
                <c:pt idx="3">
                  <c:v>0.01794794002006598</c:v>
                </c:pt>
                <c:pt idx="4">
                  <c:v>0.031598520312906206</c:v>
                </c:pt>
                <c:pt idx="5">
                  <c:v>0.0346323593536196</c:v>
                </c:pt>
                <c:pt idx="6">
                  <c:v>0.07325827275035034</c:v>
                </c:pt>
                <c:pt idx="7">
                  <c:v>0.06730220097645388</c:v>
                </c:pt>
                <c:pt idx="8">
                  <c:v>2.0055227548059046e-05</c:v>
                </c:pt>
                <c:pt idx="9">
                  <c:v>3.1137291430285486e-05</c:v>
                </c:pt>
                <c:pt idx="10">
                  <c:v>5.9131908028297804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9894847687755715</c:v>
                </c:pt>
                <c:pt idx="1">
                  <c:v>0.002255028483403057</c:v>
                </c:pt>
                <c:pt idx="2">
                  <c:v>0.003460401661324455</c:v>
                </c:pt>
                <c:pt idx="3">
                  <c:v>0.008154745536428228</c:v>
                </c:pt>
                <c:pt idx="4">
                  <c:v>0.01660420269013184</c:v>
                </c:pt>
                <c:pt idx="5">
                  <c:v>0.012212953095945937</c:v>
                </c:pt>
                <c:pt idx="6">
                  <c:v>0.006900514686939858</c:v>
                </c:pt>
                <c:pt idx="7">
                  <c:v>0.027956871870939873</c:v>
                </c:pt>
                <c:pt idx="8">
                  <c:v>0.01668129465014956</c:v>
                </c:pt>
                <c:pt idx="9">
                  <c:v>0.004308488999503852</c:v>
                </c:pt>
                <c:pt idx="10">
                  <c:v>0.000391239526749595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4267255754208456</c:v>
                </c:pt>
                <c:pt idx="3">
                  <c:v>0.006827337072079137</c:v>
                </c:pt>
                <c:pt idx="4">
                  <c:v>0.009911853027981745</c:v>
                </c:pt>
                <c:pt idx="5">
                  <c:v>0.026441787850900917</c:v>
                </c:pt>
                <c:pt idx="6">
                  <c:v>1.4726532412161027e-06</c:v>
                </c:pt>
                <c:pt idx="7">
                  <c:v>0.0641718200234897</c:v>
                </c:pt>
                <c:pt idx="8">
                  <c:v>0.0627645686249812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9624955572558335</c:v>
                </c:pt>
                <c:pt idx="3">
                  <c:v>0.07844769750622496</c:v>
                </c:pt>
                <c:pt idx="4">
                  <c:v>0.08989056765723218</c:v>
                </c:pt>
                <c:pt idx="5">
                  <c:v>0.0011853292649575801</c:v>
                </c:pt>
                <c:pt idx="6">
                  <c:v>0.009911237300409399</c:v>
                </c:pt>
                <c:pt idx="7">
                  <c:v>0.09702676708548813</c:v>
                </c:pt>
                <c:pt idx="8">
                  <c:v>0.003708295819672215</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9434962778531443e-06</c:v>
                </c:pt>
                <c:pt idx="1">
                  <c:v>2.2329531702993578e-06</c:v>
                </c:pt>
                <c:pt idx="2">
                  <c:v>0.027770080751443327</c:v>
                </c:pt>
                <c:pt idx="3">
                  <c:v>0.0318619674360169</c:v>
                </c:pt>
                <c:pt idx="4">
                  <c:v>0.01691900346938896</c:v>
                </c:pt>
                <c:pt idx="5">
                  <c:v>0.020802357138447355</c:v>
                </c:pt>
                <c:pt idx="6">
                  <c:v>0.017400080824634567</c:v>
                </c:pt>
                <c:pt idx="7">
                  <c:v>0.0519806273945063</c:v>
                </c:pt>
                <c:pt idx="8">
                  <c:v>0.0617183294152586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519806273945063</c:v>
                </c:pt>
                <c:pt idx="3">
                  <c:v>0.06171832941525862</c:v>
                </c:pt>
                <c:pt idx="4">
                  <c:v>0.017400080824634567</c:v>
                </c:pt>
                <c:pt idx="5">
                  <c:v>0.020802357138447355</c:v>
                </c:pt>
                <c:pt idx="6">
                  <c:v>0.01691900346938896</c:v>
                </c:pt>
                <c:pt idx="7">
                  <c:v>0.0318619674360169</c:v>
                </c:pt>
                <c:pt idx="8">
                  <c:v>2.2329531702993578e-06</c:v>
                </c:pt>
                <c:pt idx="9">
                  <c:v>0.027770080751443327</c:v>
                </c:pt>
                <c:pt idx="10">
                  <c:v>1.9434962778531443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747675748879555e-05</c:v>
                </c:pt>
                <c:pt idx="1">
                  <c:v>0.0016168042268465347</c:v>
                </c:pt>
                <c:pt idx="2">
                  <c:v>0.0009857273792146031</c:v>
                </c:pt>
                <c:pt idx="3">
                  <c:v>0.007454826964875372</c:v>
                </c:pt>
                <c:pt idx="4">
                  <c:v>0.00308344150254371</c:v>
                </c:pt>
                <c:pt idx="5">
                  <c:v>0.002739684608011621</c:v>
                </c:pt>
                <c:pt idx="6">
                  <c:v>0.02322663571670125</c:v>
                </c:pt>
                <c:pt idx="7">
                  <c:v>0.018569634938066275</c:v>
                </c:pt>
                <c:pt idx="8">
                  <c:v>0.038998618831462294</c:v>
                </c:pt>
                <c:pt idx="9">
                  <c:v>0.018510736315701277</c:v>
                </c:pt>
                <c:pt idx="10">
                  <c:v>0.0133749856809957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5216905811994124</c:v>
                </c:pt>
                <c:pt idx="5">
                  <c:v>0.01825891858014151</c:v>
                </c:pt>
                <c:pt idx="6">
                  <c:v/>
                </c:pt>
                <c:pt idx="7">
                  <c:v>0.030103958299176215</c:v>
                </c:pt>
                <c:pt idx="8">
                  <c:v>0.03790488467516881</c:v>
                </c:pt>
                <c:pt idx="9">
                  <c:v>0.0060900902500959754</c:v>
                </c:pt>
                <c:pt idx="10">
                  <c:v>0.000376303841657916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3797241228287283</c:v>
                </c:pt>
                <c:pt idx="5">
                  <c:v>0.029629555086729643</c:v>
                </c:pt>
                <c:pt idx="6">
                  <c:v>0.004072175014549033</c:v>
                </c:pt>
                <c:pt idx="7">
                  <c:v>0.021327844707948126</c:v>
                </c:pt>
                <c:pt idx="8">
                  <c:v>0.06993358149902323</c:v>
                </c:pt>
                <c:pt idx="9">
                  <c:v>0.009431985087989302</c:v>
                </c:pt>
                <c:pt idx="10">
                  <c:v>4.04085836224166e-0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04085836224166e-06</c:v>
                </c:pt>
                <c:pt idx="1">
                  <c:v>0.009431985087989302</c:v>
                </c:pt>
                <c:pt idx="2">
                  <c:v>0.021327844707948126</c:v>
                </c:pt>
                <c:pt idx="3">
                  <c:v>0.06993358149902323</c:v>
                </c:pt>
                <c:pt idx="4">
                  <c:v>0.004072175014549033</c:v>
                </c:pt>
                <c:pt idx="5">
                  <c:v>0.029629555086729643</c:v>
                </c:pt>
                <c:pt idx="6">
                  <c:v>0.0003797241228287283</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9702676708548813</c:v>
                </c:pt>
                <c:pt idx="3">
                  <c:v>0.003708295819672215</c:v>
                </c:pt>
                <c:pt idx="4">
                  <c:v>0.009911237300409399</c:v>
                </c:pt>
                <c:pt idx="5">
                  <c:v>0.0011853292649575801</c:v>
                </c:pt>
                <c:pt idx="6">
                  <c:v>0.08989056765723218</c:v>
                </c:pt>
                <c:pt idx="7">
                  <c:v>0.07844769750622496</c:v>
                </c:pt>
                <c:pt idx="8">
                  <c:v/>
                </c:pt>
                <c:pt idx="9">
                  <c:v>0.009624955572558335</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1.747675748879555e-05</c:v>
                </c:pt>
                <c:pt idx="1">
                  <c:v>0.0016168042268465347</c:v>
                </c:pt>
                <c:pt idx="2">
                  <c:v>0.0009857273792146031</c:v>
                </c:pt>
                <c:pt idx="3">
                  <c:v>0.00308344150254371</c:v>
                </c:pt>
                <c:pt idx="4">
                  <c:v>0.007454826964875372</c:v>
                </c:pt>
                <c:pt idx="5">
                  <c:v>0.002739684608011621</c:v>
                </c:pt>
                <c:pt idx="6">
                  <c:v>0.02322663571670125</c:v>
                </c:pt>
                <c:pt idx="7">
                  <c:v>0.018569634938066275</c:v>
                </c:pt>
                <c:pt idx="8">
                  <c:v>0.038998618831462294</c:v>
                </c:pt>
                <c:pt idx="9">
                  <c:v>0.018510736315701277</c:v>
                </c:pt>
                <c:pt idx="10">
                  <c:v>0.0133749856809957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306556131165766</c:v>
                </c:pt>
                <c:pt idx="7">
                  <c:v>0.00010804015962936446</c:v>
                </c:pt>
                <c:pt idx="8">
                  <c:v>0.004785952485926713</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38510096173754497</c:v>
                </c:pt>
                <c:pt idx="4">
                  <c:v>0.0007760242824367225</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2.4167441358791468e-05</c:v>
                </c:pt>
                <c:pt idx="7">
                  <c:v>0.0006400875063420107</c:v>
                </c:pt>
                <c:pt idx="8">
                  <c:v>0.006100530494765029</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06400875063420107</c:v>
                </c:pt>
                <c:pt idx="3">
                  <c:v>0.006100530494765029</c:v>
                </c:pt>
                <c:pt idx="4">
                  <c:v>2.4167441358791468e-05</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747675748879555e-05</c:v>
                </c:pt>
                <c:pt idx="1">
                  <c:v>0.0016168042268465347</c:v>
                </c:pt>
                <c:pt idx="2">
                  <c:v>0.0009857273792146031</c:v>
                </c:pt>
                <c:pt idx="3">
                  <c:v>0.007454826964875372</c:v>
                </c:pt>
                <c:pt idx="4">
                  <c:v>0.00308344150254371</c:v>
                </c:pt>
                <c:pt idx="5">
                  <c:v>0.002739684608011621</c:v>
                </c:pt>
                <c:pt idx="6">
                  <c:v>0.02322663571670125</c:v>
                </c:pt>
                <c:pt idx="7">
                  <c:v>0.018569634938066275</c:v>
                </c:pt>
                <c:pt idx="8">
                  <c:v>0.038998618831462294</c:v>
                </c:pt>
                <c:pt idx="9">
                  <c:v>0.018510736315701277</c:v>
                </c:pt>
                <c:pt idx="10">
                  <c:v>0.0133749856809957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5216905811994124</c:v>
                </c:pt>
                <c:pt idx="5">
                  <c:v>0.01825891858014151</c:v>
                </c:pt>
                <c:pt idx="6">
                  <c:v/>
                </c:pt>
                <c:pt idx="7">
                  <c:v>0.030103958299176215</c:v>
                </c:pt>
                <c:pt idx="8">
                  <c:v>0.03790488467516881</c:v>
                </c:pt>
                <c:pt idx="9">
                  <c:v>0.0060900902500959754</c:v>
                </c:pt>
                <c:pt idx="10">
                  <c:v>0.000376303841657916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1.5171908853375233e-06</c:v>
                </c:pt>
                <c:pt idx="5">
                  <c:v>0.0020882278192255596</c:v>
                </c:pt>
                <c:pt idx="6">
                  <c:v>0.01692267970434872</c:v>
                </c:pt>
                <c:pt idx="7">
                  <c:v>0.03958883722423117</c:v>
                </c:pt>
                <c:pt idx="8">
                  <c:v>0.03447344271987417</c:v>
                </c:pt>
                <c:pt idx="9">
                  <c:v>0.008552573597412657</c:v>
                </c:pt>
                <c:pt idx="10">
                  <c:v>0.000729161939493213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028380127651671066</c:v>
                </c:pt>
                <c:pt idx="4">
                  <c:v>0.14083598542271125</c:v>
                </c:pt>
                <c:pt idx="5">
                  <c:v>0.2811521153131808</c:v>
                </c:pt>
                <c:pt idx="6">
                  <c:v>0.22040258842250043</c:v>
                </c:pt>
                <c:pt idx="7">
                  <c:v>0.07644417561014788</c:v>
                </c:pt>
                <c:pt idx="8">
                  <c:v>0.08295570341441867</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7291619394932138</c:v>
                </c:pt>
                <c:pt idx="1">
                  <c:v>0.008552573597412657</c:v>
                </c:pt>
                <c:pt idx="2">
                  <c:v>0.03958883722423117</c:v>
                </c:pt>
                <c:pt idx="3">
                  <c:v>0.03447344271987417</c:v>
                </c:pt>
                <c:pt idx="4">
                  <c:v>0.01692267970434872</c:v>
                </c:pt>
                <c:pt idx="5">
                  <c:v>0.0020882278192255596</c:v>
                </c:pt>
                <c:pt idx="6">
                  <c:v>1.5171908853375233e-06</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1.747675748879555e-05</c:v>
                </c:pt>
                <c:pt idx="1">
                  <c:v>0.0016168042268465347</c:v>
                </c:pt>
                <c:pt idx="2">
                  <c:v>0.0009857273792146031</c:v>
                </c:pt>
                <c:pt idx="3">
                  <c:v>0.00308344150254371</c:v>
                </c:pt>
                <c:pt idx="4">
                  <c:v>0.007454826964875372</c:v>
                </c:pt>
                <c:pt idx="5">
                  <c:v>0.002739684608011621</c:v>
                </c:pt>
                <c:pt idx="6">
                  <c:v>0.02322663571670125</c:v>
                </c:pt>
                <c:pt idx="7">
                  <c:v>0.038998618831462294</c:v>
                </c:pt>
                <c:pt idx="8">
                  <c:v>0.018569634938066275</c:v>
                </c:pt>
                <c:pt idx="9">
                  <c:v>0.018510736315701277</c:v>
                </c:pt>
                <c:pt idx="10">
                  <c:v>0.0133749856809957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1.4876835877361912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38510096173754497</c:v>
                </c:pt>
                <c:pt idx="4">
                  <c:v>0.0007760242824367225</c:v>
                </c:pt>
                <c:pt idx="5">
                  <c:v>0.007687804340394887</c:v>
                </c:pt>
                <c:pt idx="6">
                  <c:v>0.006026673404257793</c:v>
                </c:pt>
                <c:pt idx="7">
                  <c:v>0.002268335118373482</c:v>
                </c:pt>
                <c:pt idx="8">
                  <c:v>0.0020902843444694235</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8.765991781950135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0.05407799527141667</c:v>
                </c:pt>
                <c:pt idx="1">
                  <c:v>0.020629668346602147</c:v>
                </c:pt>
                <c:pt idx="2">
                  <c:v>0.08008332120232514</c:v>
                </c:pt>
                <c:pt idx="3">
                  <c:v>0.14083598542271125</c:v>
                </c:pt>
                <c:pt idx="4">
                  <c:v>0.028380127651671066</c:v>
                </c:pt>
                <c:pt idx="5">
                  <c:v>0.2811521153131808</c:v>
                </c:pt>
                <c:pt idx="6">
                  <c:v>0.22040258842250043</c:v>
                </c:pt>
                <c:pt idx="7">
                  <c:v>0.08295570341441867</c:v>
                </c:pt>
                <c:pt idx="8">
                  <c:v>0.07644417561014788</c:v>
                </c:pt>
                <c:pt idx="9">
                  <c:v>0.015038319345025952</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8.76599178195013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1.747675748879555e-05</c:v>
                </c:pt>
                <c:pt idx="1">
                  <c:v>0.0016168042268465347</c:v>
                </c:pt>
                <c:pt idx="2">
                  <c:v>0.0009857273792146031</c:v>
                </c:pt>
                <c:pt idx="3">
                  <c:v>0.00308344150254371</c:v>
                </c:pt>
                <c:pt idx="4">
                  <c:v>0.007454826964875372</c:v>
                </c:pt>
                <c:pt idx="5">
                  <c:v>0.002739684608011621</c:v>
                </c:pt>
                <c:pt idx="6">
                  <c:v>0.02322663571670125</c:v>
                </c:pt>
                <c:pt idx="7">
                  <c:v>0.018569634938066275</c:v>
                </c:pt>
                <c:pt idx="8">
                  <c:v>0.038998618831462294</c:v>
                </c:pt>
                <c:pt idx="9">
                  <c:v>0.018510736315701277</c:v>
                </c:pt>
                <c:pt idx="10">
                  <c:v>0.01337498568099573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306556131165766</c:v>
                </c:pt>
                <c:pt idx="7">
                  <c:v>0.00010804015962936446</c:v>
                </c:pt>
                <c:pt idx="8">
                  <c:v>0.004785952485926713</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4787050287861047</c:v>
                </c:pt>
                <c:pt idx="1">
                  <c:v>0.0005640962497445587</c:v>
                </c:pt>
                <c:pt idx="2">
                  <c:v>0.0021897928943080225</c:v>
                </c:pt>
                <c:pt idx="3">
                  <c:v>0.0038510096173754497</c:v>
                </c:pt>
                <c:pt idx="4">
                  <c:v>0.0007760242824367225</c:v>
                </c:pt>
                <c:pt idx="5">
                  <c:v>0.007687804340394887</c:v>
                </c:pt>
                <c:pt idx="6">
                  <c:v>0.006026673404257793</c:v>
                </c:pt>
                <c:pt idx="7">
                  <c:v>0.0020902843444694235</c:v>
                </c:pt>
                <c:pt idx="8">
                  <c:v>0.002268335118373482</c:v>
                </c:pt>
                <c:pt idx="9">
                  <c:v>0.0004112067825068748</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3446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40015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33184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29042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900846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306135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66296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698119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49370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052126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74705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88223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80141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81520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820114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1029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229182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391106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317893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739608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724515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68480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5419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78968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28809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2875</Words>
  <Application>Microsoft Office PowerPoint</Application>
  <PresentationFormat>On-screen Show (16:9)</PresentationFormat>
  <Paragraphs>1075</Paragraphs>
  <Slides>25</Slides>
  <Notes>2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